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</p:sldMasterIdLst>
  <p:notesMasterIdLst>
    <p:notesMasterId r:id="rId7"/>
  </p:notesMasterIdLst>
  <p:handoutMasterIdLst>
    <p:handoutMasterId r:id="rId8"/>
  </p:handoutMasterIdLst>
  <p:sldIdLst>
    <p:sldId id="428" r:id="rId2"/>
    <p:sldId id="429" r:id="rId3"/>
    <p:sldId id="430" r:id="rId4"/>
    <p:sldId id="431" r:id="rId5"/>
    <p:sldId id="432" r:id="rId6"/>
  </p:sldIdLst>
  <p:sldSz cx="9144000" cy="6858000" type="screen4x3"/>
  <p:notesSz cx="6718300" cy="98552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014A13F2-5EFA-49B0-88F3-20EAB2D05807}">
          <p14:sldIdLst>
            <p14:sldId id="428"/>
            <p14:sldId id="429"/>
            <p14:sldId id="430"/>
            <p14:sldId id="431"/>
            <p14:sldId id="432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59C"/>
    <a:srgbClr val="EE7F00"/>
    <a:srgbClr val="005596"/>
    <a:srgbClr val="004788"/>
    <a:srgbClr val="A6A6A6"/>
    <a:srgbClr val="BFBFBF"/>
    <a:srgbClr val="585858"/>
    <a:srgbClr val="39A9DC"/>
    <a:srgbClr val="172D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6368" autoAdjust="0"/>
    <p:restoredTop sz="86633" autoAdjust="0"/>
  </p:normalViewPr>
  <p:slideViewPr>
    <p:cSldViewPr snapToObjects="1" showGuides="1">
      <p:cViewPr varScale="1">
        <p:scale>
          <a:sx n="88" d="100"/>
          <a:sy n="88" d="100"/>
        </p:scale>
        <p:origin x="-1142" y="-62"/>
      </p:cViewPr>
      <p:guideLst>
        <p:guide orient="horz" pos="2160"/>
        <p:guide orient="horz" pos="3317"/>
        <p:guide orient="horz" pos="2478"/>
        <p:guide orient="horz" pos="822"/>
        <p:guide orient="horz" pos="3498"/>
        <p:guide pos="3356"/>
        <p:guide pos="1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822"/>
    </p:cViewPr>
  </p:sorterViewPr>
  <p:notesViewPr>
    <p:cSldViewPr snapToObjects="1" showGuides="1">
      <p:cViewPr varScale="1">
        <p:scale>
          <a:sx n="63" d="100"/>
          <a:sy n="63" d="100"/>
        </p:scale>
        <p:origin x="-3084" y="-102"/>
      </p:cViewPr>
      <p:guideLst>
        <p:guide orient="horz" pos="3104"/>
        <p:guide pos="211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56DD5F0F-3C24-4D80-A625-C5BFD811132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7901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98525" y="741363"/>
            <a:ext cx="4921250" cy="3692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1518" y="4680946"/>
            <a:ext cx="5375267" cy="4435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DA859317-F8E0-4391-80D7-7DC94CFB279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6338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8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5246559C-FC1A-404F-A8AB-76DC7F87C0B6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4" y="3198402"/>
            <a:ext cx="3420951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Kenntnisse und Themenschwerpunkte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kt Erfahrung (Auszug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Vor und Nach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el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32F44C90-5CB7-448F-AAF5-B7206B35F77C}" type="datetime1">
              <a:rPr lang="de-DE" smtClean="0"/>
              <a:t>17.05.20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717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6455" y="1484313"/>
            <a:ext cx="2486025" cy="4860925"/>
          </a:xfrm>
          <a:prstGeom prst="rect">
            <a:avLst/>
          </a:prstGeom>
        </p:spPr>
      </p:pic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5C66796F-2262-49A0-8852-F080F733A627}" type="datetime1">
              <a:rPr lang="de-DE" smtClean="0"/>
              <a:t>17.05.20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446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508" y="8620"/>
            <a:ext cx="9145016" cy="1656184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15" name="Picture 5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9144509" cy="686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hteck 15"/>
          <p:cNvSpPr/>
          <p:nvPr userDrawn="1"/>
        </p:nvSpPr>
        <p:spPr bwMode="auto">
          <a:xfrm>
            <a:off x="0" y="4572508"/>
            <a:ext cx="9144508" cy="2291430"/>
          </a:xfrm>
          <a:prstGeom prst="rect">
            <a:avLst/>
          </a:prstGeom>
          <a:solidFill>
            <a:srgbClr val="A6A6A6">
              <a:alpha val="80000"/>
            </a:srgbClr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dirty="0" smtClean="0">
              <a:sym typeface="Arial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19" y="5651068"/>
            <a:ext cx="8640000" cy="73026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buNone/>
              <a:defRPr sz="16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, etc </a:t>
            </a:r>
            <a:r>
              <a:rPr lang="de-DE" dirty="0" smtClean="0"/>
              <a:t>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1519" y="4833156"/>
            <a:ext cx="8640000" cy="79208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Headline (Arial, 24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</a:p>
        </p:txBody>
      </p:sp>
      <p:sp>
        <p:nvSpPr>
          <p:cNvPr id="18" name="Rechteck 2"/>
          <p:cNvSpPr/>
          <p:nvPr userDrawn="1"/>
        </p:nvSpPr>
        <p:spPr bwMode="gray">
          <a:xfrm>
            <a:off x="6882972" y="6417332"/>
            <a:ext cx="2052638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de-DE" sz="1000" b="0" dirty="0" smtClean="0">
                <a:solidFill>
                  <a:schemeClr val="bg1"/>
                </a:solidFill>
                <a:cs typeface="+mn-cs"/>
              </a:rPr>
              <a:t>© Faktor Zehn AG 2012</a:t>
            </a:r>
            <a:endParaRPr lang="de-DE" sz="1000" b="0" dirty="0">
              <a:solidFill>
                <a:schemeClr val="bg1"/>
              </a:solidFill>
              <a:cs typeface="+mn-cs"/>
            </a:endParaRPr>
          </a:p>
        </p:txBody>
      </p:sp>
      <p:pic>
        <p:nvPicPr>
          <p:cNvPr id="1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Logo_blau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22996" y="297026"/>
            <a:ext cx="2089464" cy="719705"/>
          </a:xfrm>
          <a:prstGeom prst="rect">
            <a:avLst/>
          </a:prstGeom>
          <a:effectLst>
            <a:outerShdw sx="1000" sy="1000" algn="tl" rotWithShape="0">
              <a:prstClr val="black"/>
            </a:outerShdw>
          </a:effectLst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80" y="-11507"/>
            <a:ext cx="9172391" cy="68760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244284" y="6677130"/>
            <a:ext cx="8612192" cy="180870"/>
          </a:xfrm>
          <a:prstGeom prst="rect">
            <a:avLst/>
          </a:prstGeom>
        </p:spPr>
        <p:txBody>
          <a:bodyPr wrap="square" lIns="0" tIns="0" rIns="36000" bIns="0" anchor="ctr"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 smtClean="0">
                <a:solidFill>
                  <a:schemeClr val="tx1"/>
                </a:solidFill>
              </a:rPr>
              <a:t>Germany 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witzerland  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</a:t>
            </a:r>
            <a:r>
              <a:rPr lang="en-US" sz="800" b="1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UK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outh Africa      Austria      Spain      USA      Hungary  </a:t>
            </a:r>
            <a:r>
              <a:rPr lang="en-US" sz="800" b="1" noProof="0" dirty="0" smtClean="0">
                <a:solidFill>
                  <a:schemeClr val="tx1"/>
                </a:solidFill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</a:t>
            </a:r>
            <a:r>
              <a:rPr lang="en-US" sz="800" b="1" kern="1200" baseline="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Russia      Serbia      Italy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endParaRPr lang="en-US" sz="800" b="1" kern="1200" noProof="0" dirty="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7893" y="2420888"/>
            <a:ext cx="4948214" cy="1310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55868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284" y="1448780"/>
            <a:ext cx="8640000" cy="524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-508" y="620688"/>
            <a:ext cx="9145016" cy="6995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9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107F8651-35C6-4CC8-90DB-6EE10284C05A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6116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9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1"/>
            <a:ext cx="8639520" cy="90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DAE60D-7136-4F1C-B883-5373E81C96E0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" name="Fußzeilenplatzhalter 1"/>
          <p:cNvSpPr>
            <a:spLocks noGrp="1"/>
          </p:cNvSpPr>
          <p:nvPr>
            <p:ph type="ftr" sz="quarter" idx="18"/>
          </p:nvPr>
        </p:nvSpPr>
        <p:spPr>
          <a:xfrm>
            <a:off x="776288" y="6678613"/>
            <a:ext cx="2895600" cy="1793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6" name="Foliennummernplatzhalter 1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9BFFEE-0ACA-45E5-991C-3F636E59A192}" type="slidenum">
              <a:rPr lang="de-DE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5570679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59E63B7B-3845-4A9C-92D9-43567A6527B7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250825" y="1808163"/>
            <a:ext cx="8640763" cy="468153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786A7219-899B-4060-A3E7-B5F623697A0B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283968" y="6678000"/>
            <a:ext cx="576064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III.E-</a:t>
            </a:r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614943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5674A041-0A0C-40C8-AE31-B8413E504523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24C9FC74-F4E5-4300-9FB8-F9BFF371C146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25" y="1089466"/>
            <a:ext cx="8640000" cy="5585551"/>
          </a:xfrm>
          <a:prstGeom prst="rect">
            <a:avLst/>
          </a:prstGeom>
        </p:spPr>
      </p:pic>
      <p:sp>
        <p:nvSpPr>
          <p:cNvPr id="11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067453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16BAD71-6375-42E4-912E-C8F4172248E5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52000" y="1088740"/>
            <a:ext cx="8640000" cy="558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45506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format text (Arial, 14 pt)</a:t>
            </a:r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n-US" noProof="0" smtClean="0"/>
              <a:t>Add picture by clicking graphic symbol</a:t>
            </a:r>
            <a:endParaRPr lang="en-US" noProof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Customer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Line of Business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Period of Time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Your Contact</a:t>
            </a:r>
            <a:r>
              <a:rPr lang="en-US" sz="1200" b="1" kern="1200" baseline="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 Person</a:t>
            </a:r>
            <a:endParaRPr lang="en-US" sz="1200" b="1" kern="1200" noProof="0" dirty="0" smtClean="0">
              <a:solidFill>
                <a:srgbClr val="00559C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0,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0" kern="1200" noProof="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th (s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050" b="0" kern="1200" noProof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noProof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58A87F6F-489E-4959-A47F-8AA90A38F76C}" type="datetime1">
              <a:rPr lang="de-DE" smtClean="0"/>
              <a:t>17.05.2013</a:t>
            </a:fld>
            <a:endParaRPr lang="de-DE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Kunde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Branche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Zeitraum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Ihre Kontaktperson</a:t>
            </a: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0,5 pt)</a:t>
            </a:r>
            <a:endParaRPr lang="de-DE" dirty="0" smtClean="0"/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0" kern="120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at (e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050" b="0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22B79128-11F3-4F70-BD8A-59583365F05C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077524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5" y="3198402"/>
            <a:ext cx="3282946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Skills and Main Topics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ct Experience  (</a:t>
            </a:r>
            <a:r>
              <a:rPr lang="de-DE" sz="1400" b="1" kern="1200" dirty="0" err="1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Extract</a:t>
            </a: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First and Family 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le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46EB710-88AE-4983-B151-053DAB197452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2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>
          <a:outerShdw dist="107763" dir="2700000" algn="ctr" rotWithShape="0">
            <a:srgbClr val="000000"/>
          </a:outerShdw>
        </a:effectLst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 preferRelativeResize="0">
            <a:picLocks noChangeArrowheads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1520" y="667800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2"/>
          <p:cNvPicPr preferRelativeResize="0">
            <a:picLocks noChangeArrowheads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2000" y="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0" name="Textplatzhalter 24"/>
          <p:cNvSpPr>
            <a:spLocks noGrp="1"/>
          </p:cNvSpPr>
          <p:nvPr userDrawn="1">
            <p:ph type="body" idx="1"/>
          </p:nvPr>
        </p:nvSpPr>
        <p:spPr bwMode="auto">
          <a:xfrm>
            <a:off x="250825" y="1449388"/>
            <a:ext cx="8640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sz="1600" dirty="0" smtClean="0"/>
              <a:t>First </a:t>
            </a:r>
            <a:r>
              <a:rPr lang="de-DE" sz="1600" dirty="0" err="1" smtClean="0"/>
              <a:t>level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bullet</a:t>
            </a:r>
            <a:r>
              <a:rPr lang="de-DE" sz="1600" dirty="0" smtClean="0"/>
              <a:t> (Arial, 16 </a:t>
            </a:r>
            <a:r>
              <a:rPr lang="de-DE" sz="1600" dirty="0" err="1" smtClean="0"/>
              <a:t>pt</a:t>
            </a:r>
            <a:r>
              <a:rPr lang="de-DE" sz="1600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sz="1400" dirty="0" smtClean="0"/>
              <a:t>Secon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bulles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4"/>
            <a:r>
              <a:rPr lang="de-DE" sz="1400" dirty="0" smtClean="0"/>
              <a:t>Thir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6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7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8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0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683588" y="6677130"/>
            <a:ext cx="180000" cy="18000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 |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840252" y="6677130"/>
            <a:ext cx="2051483" cy="18087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© </a:t>
            </a:r>
            <a:r>
              <a:rPr lang="en-US" sz="700" b="1" kern="120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Faktor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baseline="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Zehn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AG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0" name="Titelplatzhalter 21"/>
          <p:cNvSpPr>
            <a:spLocks noGrp="1"/>
          </p:cNvSpPr>
          <p:nvPr userDrawn="1"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B4FED739-4521-4007-A785-763B302D3D0E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8" name="Straight Connector 7"/>
          <p:cNvCxnSpPr/>
          <p:nvPr userDrawn="1"/>
        </p:nvCxnSpPr>
        <p:spPr>
          <a:xfrm>
            <a:off x="250824" y="1088740"/>
            <a:ext cx="8640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90" r:id="rId2"/>
    <p:sldLayoutId id="2147483697" r:id="rId3"/>
    <p:sldLayoutId id="2147483688" r:id="rId4"/>
    <p:sldLayoutId id="2147483691" r:id="rId5"/>
    <p:sldLayoutId id="2147483700" r:id="rId6"/>
    <p:sldLayoutId id="2147483674" r:id="rId7"/>
    <p:sldLayoutId id="2147483704" r:id="rId8"/>
    <p:sldLayoutId id="2147483675" r:id="rId9"/>
    <p:sldLayoutId id="2147483705" r:id="rId10"/>
    <p:sldLayoutId id="2147483702" r:id="rId11"/>
    <p:sldLayoutId id="2147483679" r:id="rId12"/>
    <p:sldLayoutId id="2147483692" r:id="rId13"/>
    <p:sldLayoutId id="2147483701" r:id="rId14"/>
    <p:sldLayoutId id="2147483905" r:id="rId15"/>
  </p:sldLayoutIdLst>
  <p:transition spd="slow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5pPr>
      <a:lvl6pPr marL="4572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9pPr>
    </p:titleStyle>
    <p:bodyStyle>
      <a:lvl1pPr marL="0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kumimoji="1" lang="de-DE" sz="1600" b="0">
          <a:solidFill>
            <a:schemeClr val="tx2"/>
          </a:solidFill>
          <a:latin typeface="+mn-lt"/>
          <a:ea typeface="+mn-ea"/>
          <a:cs typeface="+mn-cs"/>
        </a:defRPr>
      </a:lvl1pPr>
      <a:lvl2pPr marL="173038" indent="-173038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tabLst/>
        <a:defRPr sz="1600">
          <a:solidFill>
            <a:schemeClr val="tx2"/>
          </a:solidFill>
          <a:latin typeface="+mn-lt"/>
        </a:defRPr>
      </a:lvl2pPr>
      <a:lvl3pPr marL="173038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3pPr>
      <a:lvl4pPr marL="361950" indent="-188913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4pPr>
      <a:lvl5pPr marL="361950" indent="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5pPr>
      <a:lvl6pPr marL="536575" indent="-174625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6pPr>
      <a:lvl7pPr marL="536575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200">
          <a:solidFill>
            <a:schemeClr val="tx2"/>
          </a:solidFill>
          <a:latin typeface="+mn-lt"/>
        </a:defRPr>
      </a:lvl7pPr>
      <a:lvl8pPr marL="725488" indent="-188913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tabLst>
          <a:tab pos="725488" algn="l"/>
        </a:tabLst>
        <a:defRPr sz="1200" baseline="0">
          <a:solidFill>
            <a:schemeClr val="tx2"/>
          </a:solidFill>
          <a:latin typeface="+mn-lt"/>
        </a:defRPr>
      </a:lvl8pPr>
      <a:lvl9pPr marL="725488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000" baseline="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halt - Modellierung </a:t>
            </a:r>
            <a:r>
              <a:rPr lang="de-DE" dirty="0"/>
              <a:t>&amp; Produktdefinition</a:t>
            </a:r>
            <a:endParaRPr lang="pt-BR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76048893-74DA-46A6-BFBC-44330F1FA4CC}" type="datetime1">
              <a:rPr lang="de-DE" smtClean="0"/>
              <a:t>17.05.2013</a:t>
            </a:fld>
            <a:endParaRPr lang="de-DE" dirty="0"/>
          </a:p>
        </p:txBody>
      </p:sp>
      <p:graphicFrame>
        <p:nvGraphicFramePr>
          <p:cNvPr id="6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4648755"/>
              </p:ext>
            </p:extLst>
          </p:nvPr>
        </p:nvGraphicFramePr>
        <p:xfrm>
          <a:off x="267793" y="1232756"/>
          <a:ext cx="6068403" cy="5084209"/>
        </p:xfrm>
        <a:graphic>
          <a:graphicData uri="http://schemas.openxmlformats.org/drawingml/2006/table">
            <a:tbl>
              <a:tblPr/>
              <a:tblGrid>
                <a:gridCol w="6068403"/>
              </a:tblGrid>
              <a:tr h="28114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b="1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790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2400" b="1" dirty="0" smtClean="0"/>
                        <a:t>III.E Verwendung von Aufzählun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4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39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b="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81025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4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3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b="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542444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fzählung Zahlweise: Modell und Produktseite</a:t>
            </a:r>
            <a:endParaRPr lang="de-DE" dirty="0"/>
          </a:p>
        </p:txBody>
      </p:sp>
      <p:grpSp>
        <p:nvGrpSpPr>
          <p:cNvPr id="6" name="Gruppieren 5"/>
          <p:cNvGrpSpPr/>
          <p:nvPr/>
        </p:nvGrpSpPr>
        <p:grpSpPr>
          <a:xfrm>
            <a:off x="1248056" y="1669916"/>
            <a:ext cx="2764010" cy="2463718"/>
            <a:chOff x="254719" y="1638296"/>
            <a:chExt cx="3600000" cy="2323340"/>
          </a:xfrm>
        </p:grpSpPr>
        <p:sp>
          <p:nvSpPr>
            <p:cNvPr id="7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54719" y="2008179"/>
              <a:ext cx="3600000" cy="195345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000" dirty="0">
                <a:solidFill>
                  <a:srgbClr val="FFFFFF"/>
                </a:solidFill>
              </a:endParaRPr>
            </a:p>
          </p:txBody>
        </p:sp>
        <p:sp>
          <p:nvSpPr>
            <p:cNvPr id="8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 err="1" smtClean="0">
                  <a:solidFill>
                    <a:srgbClr val="FFFFFF"/>
                  </a:solidFill>
                </a:rPr>
                <a:t>Zahlweise</a:t>
              </a:r>
              <a:endParaRPr lang="en-US" sz="1200" dirty="0" smtClean="0">
                <a:solidFill>
                  <a:srgbClr val="FFFFFF"/>
                </a:solidFill>
              </a:endParaRPr>
            </a:p>
          </p:txBody>
        </p:sp>
      </p:grpSp>
      <p:graphicFrame>
        <p:nvGraphicFramePr>
          <p:cNvPr id="9" name="Tabel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5720284"/>
              </p:ext>
            </p:extLst>
          </p:nvPr>
        </p:nvGraphicFramePr>
        <p:xfrm>
          <a:off x="1259059" y="2091973"/>
          <a:ext cx="2742003" cy="2011836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85775"/>
                <a:gridCol w="1244014"/>
                <a:gridCol w="1012214"/>
              </a:tblGrid>
              <a:tr h="635296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err="1" smtClean="0"/>
                        <a:t>Id</a:t>
                      </a:r>
                      <a:endParaRPr lang="de-DE" sz="12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Name</a:t>
                      </a:r>
                      <a:endParaRPr lang="de-DE" sz="12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Anzahl Zahlungen</a:t>
                      </a:r>
                      <a:r>
                        <a:rPr lang="de-DE" sz="1200" baseline="0" dirty="0" smtClean="0"/>
                        <a:t> pro Jahr</a:t>
                      </a:r>
                      <a:endParaRPr lang="de-DE" sz="1200" dirty="0"/>
                    </a:p>
                  </a:txBody>
                  <a:tcPr marT="45733" marB="45733"/>
                </a:tc>
              </a:tr>
              <a:tr h="224944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1</a:t>
                      </a: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Jährlich</a:t>
                      </a:r>
                      <a:endParaRPr lang="de-DE" sz="12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1</a:t>
                      </a:r>
                      <a:endParaRPr lang="de-DE" sz="1200" dirty="0"/>
                    </a:p>
                  </a:txBody>
                  <a:tcPr marT="45733" marB="45733"/>
                </a:tc>
              </a:tr>
              <a:tr h="224944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2</a:t>
                      </a:r>
                      <a:endParaRPr lang="de-DE" sz="12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Halbjährlich</a:t>
                      </a:r>
                      <a:endParaRPr lang="de-DE" sz="12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2</a:t>
                      </a:r>
                      <a:endParaRPr lang="de-DE" sz="1200" dirty="0"/>
                    </a:p>
                  </a:txBody>
                  <a:tcPr marT="45733" marB="45733"/>
                </a:tc>
              </a:tr>
              <a:tr h="224944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4</a:t>
                      </a:r>
                      <a:endParaRPr lang="de-DE" sz="12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Quartalsweise</a:t>
                      </a:r>
                      <a:endParaRPr lang="de-DE" sz="12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4</a:t>
                      </a:r>
                      <a:endParaRPr lang="de-DE" sz="1200" dirty="0"/>
                    </a:p>
                  </a:txBody>
                  <a:tcPr marT="45733" marB="45733"/>
                </a:tc>
              </a:tr>
              <a:tr h="224944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12</a:t>
                      </a:r>
                      <a:endParaRPr lang="de-DE" sz="12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Monatlich</a:t>
                      </a:r>
                      <a:endParaRPr lang="de-DE" sz="12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12</a:t>
                      </a:r>
                      <a:endParaRPr lang="de-DE" sz="1200" dirty="0"/>
                    </a:p>
                  </a:txBody>
                  <a:tcPr marT="45733" marB="45733"/>
                </a:tc>
              </a:tr>
              <a:tr h="224944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0</a:t>
                      </a:r>
                      <a:endParaRPr lang="de-DE" sz="12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Einmalig</a:t>
                      </a:r>
                      <a:endParaRPr lang="de-DE" sz="12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&lt;null&gt;</a:t>
                      </a:r>
                      <a:endParaRPr lang="de-DE" sz="1200" dirty="0"/>
                    </a:p>
                  </a:txBody>
                  <a:tcPr marT="45733" marB="45733"/>
                </a:tc>
              </a:tr>
            </a:tbl>
          </a:graphicData>
        </a:graphic>
      </p:graphicFrame>
      <p:cxnSp>
        <p:nvCxnSpPr>
          <p:cNvPr id="11" name="Gerade Verbindung 10"/>
          <p:cNvCxnSpPr/>
          <p:nvPr/>
        </p:nvCxnSpPr>
        <p:spPr bwMode="auto">
          <a:xfrm>
            <a:off x="5304108" y="1520416"/>
            <a:ext cx="0" cy="4608512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accent3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Textfeld 11"/>
          <p:cNvSpPr txBox="1"/>
          <p:nvPr/>
        </p:nvSpPr>
        <p:spPr>
          <a:xfrm>
            <a:off x="1789569" y="1268760"/>
            <a:ext cx="172819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357188"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Modell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5832140" y="1272042"/>
            <a:ext cx="172819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357188"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Produkt</a:t>
            </a:r>
          </a:p>
        </p:txBody>
      </p:sp>
      <p:sp>
        <p:nvSpPr>
          <p:cNvPr id="14" name="Nach rechts gekrümmter Pfeil 13"/>
          <p:cNvSpPr/>
          <p:nvPr/>
        </p:nvSpPr>
        <p:spPr bwMode="auto">
          <a:xfrm>
            <a:off x="335556" y="3032956"/>
            <a:ext cx="576064" cy="1836204"/>
          </a:xfrm>
          <a:prstGeom prst="curvedRightArrow">
            <a:avLst/>
          </a:prstGeom>
          <a:solidFill>
            <a:schemeClr val="bg1"/>
          </a:solidFill>
          <a:ln w="12700" cap="flat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 defTabSz="357188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de-DE" sz="1100" dirty="0" err="1" smtClean="0">
              <a:solidFill>
                <a:srgbClr val="585858"/>
              </a:solidFill>
              <a:sym typeface="Arial" charset="0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983628" y="4509120"/>
            <a:ext cx="4176463" cy="201622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36000" tIns="36000" rIns="36000" bIns="36000" rtlCol="0">
            <a:noAutofit/>
          </a:bodyPr>
          <a:lstStyle/>
          <a:p>
            <a:pPr defTabSz="357188">
              <a:lnSpc>
                <a:spcPct val="115000"/>
              </a:lnSpc>
              <a:spcAft>
                <a:spcPts val="0"/>
              </a:spcAft>
            </a:pPr>
            <a:r>
              <a:rPr lang="de-DE" sz="1000" b="1" dirty="0" err="1" smtClean="0">
                <a:solidFill>
                  <a:srgbClr val="7F0055"/>
                </a:solidFill>
                <a:latin typeface="Consolas"/>
                <a:ea typeface="Calibri"/>
                <a:cs typeface="Times New Roman"/>
              </a:rPr>
              <a:t>public</a:t>
            </a:r>
            <a:r>
              <a:rPr lang="de-DE" sz="1000" dirty="0" smtClean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 </a:t>
            </a:r>
            <a:r>
              <a:rPr lang="de-DE" sz="1000" b="1" dirty="0" err="1" smtClean="0">
                <a:solidFill>
                  <a:srgbClr val="7F0055"/>
                </a:solidFill>
                <a:latin typeface="Consolas"/>
                <a:ea typeface="Calibri"/>
                <a:cs typeface="Times New Roman"/>
              </a:rPr>
              <a:t>enum</a:t>
            </a:r>
            <a:r>
              <a:rPr lang="de-DE" sz="1000" dirty="0" smtClean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 Zahlweise {</a:t>
            </a:r>
            <a:endParaRPr lang="de-DE" sz="1000" dirty="0" smtClean="0">
              <a:solidFill>
                <a:srgbClr val="FFFFFF"/>
              </a:solidFill>
              <a:latin typeface="Calibri"/>
              <a:ea typeface="Calibri"/>
              <a:cs typeface="Times New Roman"/>
            </a:endParaRPr>
          </a:p>
          <a:p>
            <a:pPr defTabSz="357188">
              <a:lnSpc>
                <a:spcPct val="115000"/>
              </a:lnSpc>
              <a:spcAft>
                <a:spcPts val="0"/>
              </a:spcAft>
            </a:pPr>
            <a:r>
              <a:rPr lang="de-DE" sz="1000" dirty="0" smtClean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	</a:t>
            </a:r>
            <a:r>
              <a:rPr lang="de-DE" sz="1000" dirty="0" smtClean="0">
                <a:solidFill>
                  <a:srgbClr val="3F5FBF"/>
                </a:solidFill>
                <a:latin typeface="Consolas"/>
                <a:ea typeface="Calibri"/>
                <a:cs typeface="Times New Roman"/>
              </a:rPr>
              <a:t>/**</a:t>
            </a:r>
            <a:endParaRPr lang="de-DE" sz="1000" dirty="0" smtClean="0">
              <a:solidFill>
                <a:srgbClr val="FFFFFF"/>
              </a:solidFill>
              <a:latin typeface="Calibri"/>
              <a:ea typeface="Calibri"/>
              <a:cs typeface="Times New Roman"/>
            </a:endParaRPr>
          </a:p>
          <a:p>
            <a:pPr defTabSz="357188">
              <a:lnSpc>
                <a:spcPct val="115000"/>
              </a:lnSpc>
              <a:spcAft>
                <a:spcPts val="0"/>
              </a:spcAft>
            </a:pPr>
            <a:r>
              <a:rPr lang="de-DE" sz="1000" dirty="0" smtClean="0">
                <a:solidFill>
                  <a:srgbClr val="3F5FBF"/>
                </a:solidFill>
                <a:latin typeface="Consolas"/>
                <a:ea typeface="Calibri"/>
                <a:cs typeface="Times New Roman"/>
              </a:rPr>
              <a:t>	 * </a:t>
            </a:r>
            <a:r>
              <a:rPr lang="de-DE" sz="1000" b="1" dirty="0" smtClean="0">
                <a:solidFill>
                  <a:srgbClr val="7F9FBF"/>
                </a:solidFill>
                <a:latin typeface="Consolas"/>
                <a:ea typeface="Calibri"/>
                <a:cs typeface="Times New Roman"/>
              </a:rPr>
              <a:t>@</a:t>
            </a:r>
            <a:r>
              <a:rPr lang="de-DE" sz="1000" b="1" dirty="0" err="1" smtClean="0">
                <a:solidFill>
                  <a:srgbClr val="7F9FBF"/>
                </a:solidFill>
                <a:latin typeface="Consolas"/>
                <a:ea typeface="Calibri"/>
                <a:cs typeface="Times New Roman"/>
              </a:rPr>
              <a:t>generated</a:t>
            </a:r>
            <a:endParaRPr lang="de-DE" sz="1000" dirty="0" smtClean="0">
              <a:solidFill>
                <a:srgbClr val="FFFFFF"/>
              </a:solidFill>
              <a:latin typeface="Calibri"/>
              <a:ea typeface="Calibri"/>
              <a:cs typeface="Times New Roman"/>
            </a:endParaRPr>
          </a:p>
          <a:p>
            <a:pPr defTabSz="357188">
              <a:lnSpc>
                <a:spcPct val="115000"/>
              </a:lnSpc>
              <a:spcAft>
                <a:spcPts val="0"/>
              </a:spcAft>
            </a:pPr>
            <a:r>
              <a:rPr lang="de-DE" sz="1000" dirty="0" smtClean="0">
                <a:solidFill>
                  <a:srgbClr val="3F5FBF"/>
                </a:solidFill>
                <a:latin typeface="Consolas"/>
                <a:ea typeface="Calibri"/>
                <a:cs typeface="Times New Roman"/>
              </a:rPr>
              <a:t>	 */</a:t>
            </a:r>
            <a:endParaRPr lang="de-DE" sz="1000" dirty="0" smtClean="0">
              <a:solidFill>
                <a:srgbClr val="FFFFFF"/>
              </a:solidFill>
              <a:latin typeface="Calibri"/>
              <a:ea typeface="Calibri"/>
              <a:cs typeface="Times New Roman"/>
            </a:endParaRPr>
          </a:p>
          <a:p>
            <a:pPr defTabSz="357188">
              <a:lnSpc>
                <a:spcPct val="115000"/>
              </a:lnSpc>
              <a:spcAft>
                <a:spcPts val="0"/>
              </a:spcAft>
            </a:pPr>
            <a:r>
              <a:rPr lang="de-DE" sz="1000" dirty="0" smtClean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	</a:t>
            </a:r>
            <a:r>
              <a:rPr lang="de-DE" sz="1000" i="1" dirty="0" smtClean="0">
                <a:solidFill>
                  <a:srgbClr val="0000C0"/>
                </a:solidFill>
                <a:latin typeface="Consolas"/>
                <a:ea typeface="Calibri"/>
                <a:cs typeface="Times New Roman"/>
              </a:rPr>
              <a:t>JAEHRLICH</a:t>
            </a:r>
            <a:r>
              <a:rPr lang="de-DE" sz="1000" dirty="0" smtClean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(</a:t>
            </a:r>
            <a:r>
              <a:rPr lang="de-DE" sz="1000" dirty="0" smtClean="0">
                <a:solidFill>
                  <a:srgbClr val="2A00FF"/>
                </a:solidFill>
                <a:latin typeface="Consolas"/>
                <a:ea typeface="Calibri"/>
                <a:cs typeface="Times New Roman"/>
              </a:rPr>
              <a:t>"j"</a:t>
            </a:r>
            <a:r>
              <a:rPr lang="de-DE" sz="1000" dirty="0" smtClean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, </a:t>
            </a:r>
            <a:r>
              <a:rPr lang="de-DE" sz="1000" dirty="0" smtClean="0">
                <a:solidFill>
                  <a:srgbClr val="2A00FF"/>
                </a:solidFill>
                <a:latin typeface="Consolas"/>
                <a:ea typeface="Calibri"/>
                <a:cs typeface="Times New Roman"/>
              </a:rPr>
              <a:t>"</a:t>
            </a:r>
            <a:r>
              <a:rPr lang="de-DE" sz="1000" dirty="0" err="1" smtClean="0">
                <a:solidFill>
                  <a:srgbClr val="2A00FF"/>
                </a:solidFill>
                <a:latin typeface="Consolas"/>
                <a:ea typeface="Calibri"/>
                <a:cs typeface="Times New Roman"/>
              </a:rPr>
              <a:t>jaehrlich</a:t>
            </a:r>
            <a:r>
              <a:rPr lang="de-DE" sz="1000" dirty="0" smtClean="0">
                <a:solidFill>
                  <a:srgbClr val="2A00FF"/>
                </a:solidFill>
                <a:latin typeface="Consolas"/>
                <a:ea typeface="Calibri"/>
                <a:cs typeface="Times New Roman"/>
              </a:rPr>
              <a:t>"</a:t>
            </a:r>
            <a:r>
              <a:rPr lang="de-DE" sz="1000" dirty="0" smtClean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, </a:t>
            </a:r>
            <a:r>
              <a:rPr lang="de-DE" sz="1000" b="1" dirty="0" err="1" smtClean="0">
                <a:solidFill>
                  <a:srgbClr val="7F0055"/>
                </a:solidFill>
                <a:latin typeface="Consolas"/>
                <a:ea typeface="Calibri"/>
                <a:cs typeface="Times New Roman"/>
              </a:rPr>
              <a:t>new</a:t>
            </a:r>
            <a:r>
              <a:rPr lang="de-DE" sz="1000" dirty="0" smtClean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 Integer(1)), </a:t>
            </a:r>
            <a:r>
              <a:rPr lang="de-DE" sz="1000" dirty="0" smtClean="0">
                <a:solidFill>
                  <a:srgbClr val="3F5FBF"/>
                </a:solidFill>
                <a:latin typeface="Consolas"/>
                <a:ea typeface="Calibri"/>
                <a:cs typeface="Times New Roman"/>
              </a:rPr>
              <a:t>/**</a:t>
            </a:r>
            <a:endParaRPr lang="de-DE" sz="1000" dirty="0" smtClean="0">
              <a:solidFill>
                <a:srgbClr val="FFFFFF"/>
              </a:solidFill>
              <a:latin typeface="Calibri"/>
              <a:ea typeface="Calibri"/>
              <a:cs typeface="Times New Roman"/>
            </a:endParaRPr>
          </a:p>
          <a:p>
            <a:pPr defTabSz="357188">
              <a:lnSpc>
                <a:spcPct val="115000"/>
              </a:lnSpc>
              <a:spcAft>
                <a:spcPts val="0"/>
              </a:spcAft>
            </a:pPr>
            <a:r>
              <a:rPr lang="de-DE" sz="1000" dirty="0" smtClean="0">
                <a:solidFill>
                  <a:srgbClr val="3F5FBF"/>
                </a:solidFill>
                <a:latin typeface="Consolas"/>
                <a:ea typeface="Calibri"/>
                <a:cs typeface="Times New Roman"/>
              </a:rPr>
              <a:t>	 * </a:t>
            </a:r>
            <a:r>
              <a:rPr lang="de-DE" sz="1000" b="1" dirty="0" smtClean="0">
                <a:solidFill>
                  <a:srgbClr val="7F9FBF"/>
                </a:solidFill>
                <a:latin typeface="Consolas"/>
                <a:ea typeface="Calibri"/>
                <a:cs typeface="Times New Roman"/>
              </a:rPr>
              <a:t>@</a:t>
            </a:r>
            <a:r>
              <a:rPr lang="de-DE" sz="1000" b="1" dirty="0" err="1" smtClean="0">
                <a:solidFill>
                  <a:srgbClr val="7F9FBF"/>
                </a:solidFill>
                <a:latin typeface="Consolas"/>
                <a:ea typeface="Calibri"/>
                <a:cs typeface="Times New Roman"/>
              </a:rPr>
              <a:t>generated</a:t>
            </a:r>
            <a:endParaRPr lang="de-DE" sz="1000" dirty="0" smtClean="0">
              <a:solidFill>
                <a:srgbClr val="FFFFFF"/>
              </a:solidFill>
              <a:latin typeface="Calibri"/>
              <a:ea typeface="Calibri"/>
              <a:cs typeface="Times New Roman"/>
            </a:endParaRPr>
          </a:p>
          <a:p>
            <a:pPr defTabSz="357188">
              <a:lnSpc>
                <a:spcPct val="115000"/>
              </a:lnSpc>
              <a:spcAft>
                <a:spcPts val="0"/>
              </a:spcAft>
            </a:pPr>
            <a:r>
              <a:rPr lang="de-DE" sz="1000" dirty="0" smtClean="0">
                <a:solidFill>
                  <a:srgbClr val="3F5FBF"/>
                </a:solidFill>
                <a:latin typeface="Consolas"/>
                <a:ea typeface="Calibri"/>
                <a:cs typeface="Times New Roman"/>
              </a:rPr>
              <a:t>	 */</a:t>
            </a:r>
            <a:endParaRPr lang="de-DE" sz="1000" dirty="0" smtClean="0">
              <a:solidFill>
                <a:srgbClr val="FFFFFF"/>
              </a:solidFill>
              <a:latin typeface="Calibri"/>
              <a:ea typeface="Calibri"/>
              <a:cs typeface="Times New Roman"/>
            </a:endParaRPr>
          </a:p>
          <a:p>
            <a:pPr defTabSz="357188">
              <a:lnSpc>
                <a:spcPct val="115000"/>
              </a:lnSpc>
              <a:spcAft>
                <a:spcPts val="0"/>
              </a:spcAft>
            </a:pPr>
            <a:r>
              <a:rPr lang="de-DE" sz="1000" dirty="0" smtClean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	</a:t>
            </a:r>
            <a:r>
              <a:rPr lang="de-DE" sz="1000" i="1" dirty="0" smtClean="0">
                <a:solidFill>
                  <a:srgbClr val="0000C0"/>
                </a:solidFill>
                <a:latin typeface="Consolas"/>
                <a:ea typeface="Calibri"/>
                <a:cs typeface="Times New Roman"/>
              </a:rPr>
              <a:t>HALBJAEHRLICH</a:t>
            </a:r>
            <a:r>
              <a:rPr lang="de-DE" sz="1000" dirty="0" smtClean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(</a:t>
            </a:r>
            <a:r>
              <a:rPr lang="de-DE" sz="1000" dirty="0" smtClean="0">
                <a:solidFill>
                  <a:srgbClr val="2A00FF"/>
                </a:solidFill>
                <a:latin typeface="Consolas"/>
                <a:ea typeface="Calibri"/>
                <a:cs typeface="Times New Roman"/>
              </a:rPr>
              <a:t>"h"</a:t>
            </a:r>
            <a:r>
              <a:rPr lang="de-DE" sz="1000" dirty="0" smtClean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, </a:t>
            </a:r>
            <a:r>
              <a:rPr lang="de-DE" sz="1000" dirty="0" smtClean="0">
                <a:solidFill>
                  <a:srgbClr val="2A00FF"/>
                </a:solidFill>
                <a:latin typeface="Consolas"/>
                <a:ea typeface="Calibri"/>
                <a:cs typeface="Times New Roman"/>
              </a:rPr>
              <a:t>"</a:t>
            </a:r>
            <a:r>
              <a:rPr lang="de-DE" sz="1000" dirty="0" err="1" smtClean="0">
                <a:solidFill>
                  <a:srgbClr val="2A00FF"/>
                </a:solidFill>
                <a:latin typeface="Consolas"/>
                <a:ea typeface="Calibri"/>
                <a:cs typeface="Times New Roman"/>
              </a:rPr>
              <a:t>halbjaehrlich</a:t>
            </a:r>
            <a:r>
              <a:rPr lang="de-DE" sz="1000" dirty="0" smtClean="0">
                <a:solidFill>
                  <a:srgbClr val="2A00FF"/>
                </a:solidFill>
                <a:latin typeface="Consolas"/>
                <a:ea typeface="Calibri"/>
                <a:cs typeface="Times New Roman"/>
              </a:rPr>
              <a:t>"</a:t>
            </a:r>
            <a:r>
              <a:rPr lang="de-DE" sz="1000" dirty="0" smtClean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, </a:t>
            </a:r>
            <a:r>
              <a:rPr lang="de-DE" sz="1000" b="1" dirty="0" err="1" smtClean="0">
                <a:solidFill>
                  <a:srgbClr val="7F0055"/>
                </a:solidFill>
                <a:latin typeface="Consolas"/>
                <a:ea typeface="Calibri"/>
                <a:cs typeface="Times New Roman"/>
              </a:rPr>
              <a:t>new</a:t>
            </a:r>
            <a:r>
              <a:rPr lang="de-DE" sz="1000" dirty="0" smtClean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 Integer(2)), </a:t>
            </a:r>
          </a:p>
          <a:p>
            <a:pPr defTabSz="357188">
              <a:lnSpc>
                <a:spcPct val="115000"/>
              </a:lnSpc>
              <a:spcAft>
                <a:spcPts val="0"/>
              </a:spcAft>
            </a:pPr>
            <a:r>
              <a:rPr lang="de-DE" sz="1000" dirty="0" smtClean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     …</a:t>
            </a:r>
          </a:p>
          <a:p>
            <a:pPr defTabSz="357188">
              <a:lnSpc>
                <a:spcPct val="115000"/>
              </a:lnSpc>
              <a:spcAft>
                <a:spcPts val="0"/>
              </a:spcAft>
            </a:pPr>
            <a:r>
              <a:rPr lang="de-DE" sz="1000" dirty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}</a:t>
            </a:r>
            <a:endParaRPr lang="de-DE" sz="1000" dirty="0" smtClean="0">
              <a:solidFill>
                <a:srgbClr val="000000"/>
              </a:solidFill>
              <a:latin typeface="Consolas"/>
              <a:ea typeface="Calibri"/>
              <a:cs typeface="Times New Roman"/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1941969" y="4190196"/>
            <a:ext cx="172819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357188"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Java</a:t>
            </a:r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CA515B1-FFBE-4443-BF17-D13AF5EAAE2B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E-</a:t>
            </a:r>
            <a:fld id="{21FBF85A-D7A6-488B-8C2B-F7E0D6843921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09706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mo: Aufzählung Zahlweise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4294967295"/>
          </p:nvPr>
        </p:nvSpPr>
        <p:spPr>
          <a:xfrm>
            <a:off x="251520" y="1268760"/>
            <a:ext cx="8640762" cy="5003800"/>
          </a:xfrm>
        </p:spPr>
        <p:txBody>
          <a:bodyPr/>
          <a:lstStyle/>
          <a:p>
            <a:pPr>
              <a:buFont typeface="Wingdings" pitchFamily="2" charset="2"/>
              <a:buChar char="§"/>
            </a:pPr>
            <a:r>
              <a:rPr lang="de-DE" dirty="0" smtClean="0"/>
              <a:t> Aufzählungstyp Zahlweise anlegen</a:t>
            </a:r>
          </a:p>
          <a:p>
            <a:pPr>
              <a:buFont typeface="Wingdings" pitchFamily="2" charset="2"/>
              <a:buChar char="§"/>
            </a:pPr>
            <a:r>
              <a:rPr lang="de-DE" dirty="0" smtClean="0"/>
              <a:t> Generierten </a:t>
            </a:r>
            <a:r>
              <a:rPr lang="de-DE" dirty="0" err="1" smtClean="0"/>
              <a:t>Sourcecode</a:t>
            </a:r>
            <a:r>
              <a:rPr lang="de-DE" dirty="0" smtClean="0"/>
              <a:t> anschauen</a:t>
            </a:r>
          </a:p>
          <a:p>
            <a:pPr>
              <a:buFont typeface="Wingdings" pitchFamily="2" charset="2"/>
              <a:buChar char="§"/>
            </a:pPr>
            <a:r>
              <a:rPr lang="de-DE" dirty="0" smtClean="0"/>
              <a:t> Im Hausratvertrag das Attribut Zahlweise auf diesen Datentyp ändern</a:t>
            </a:r>
          </a:p>
          <a:p>
            <a:pPr>
              <a:buFont typeface="Wingdings" pitchFamily="2" charset="2"/>
              <a:buChar char="§"/>
            </a:pPr>
            <a:r>
              <a:rPr lang="de-DE" dirty="0" smtClean="0"/>
              <a:t> Im Hausratvertrag berechnetes Attribut (</a:t>
            </a:r>
            <a:r>
              <a:rPr lang="de-DE" dirty="0" err="1" smtClean="0"/>
              <a:t>cached</a:t>
            </a:r>
            <a:r>
              <a:rPr lang="de-DE" dirty="0" smtClean="0"/>
              <a:t>) „</a:t>
            </a:r>
            <a:r>
              <a:rPr lang="de-DE" dirty="0" err="1" smtClean="0"/>
              <a:t>beitragGemaessZahlweise</a:t>
            </a:r>
            <a:r>
              <a:rPr lang="de-DE" dirty="0" smtClean="0"/>
              <a:t>“ anlegen</a:t>
            </a:r>
          </a:p>
          <a:p>
            <a:pPr>
              <a:buFont typeface="Wingdings" pitchFamily="2" charset="2"/>
              <a:buChar char="§"/>
            </a:pPr>
            <a:r>
              <a:rPr lang="de-DE" dirty="0" smtClean="0"/>
              <a:t> Im Hausratvertrag Methode </a:t>
            </a:r>
            <a:r>
              <a:rPr lang="de-DE" dirty="0" err="1" smtClean="0"/>
              <a:t>berechneBeitragGemaessZahlweise</a:t>
            </a:r>
            <a:r>
              <a:rPr lang="de-DE" dirty="0" smtClean="0"/>
              <a:t> anlegen</a:t>
            </a:r>
          </a:p>
          <a:p>
            <a:pPr>
              <a:buFont typeface="Wingdings" pitchFamily="2" charset="2"/>
              <a:buChar char="§"/>
            </a:pPr>
            <a:r>
              <a:rPr lang="de-DE" dirty="0" smtClean="0"/>
              <a:t> In der Java Klasse implementieren</a:t>
            </a:r>
          </a:p>
          <a:p>
            <a:pPr>
              <a:buFont typeface="Wingdings" pitchFamily="2" charset="2"/>
              <a:buChar char="§"/>
            </a:pPr>
            <a:r>
              <a:rPr lang="de-DE" dirty="0" smtClean="0"/>
              <a:t> </a:t>
            </a:r>
            <a:r>
              <a:rPr lang="de-DE" dirty="0" err="1" smtClean="0"/>
              <a:t>JUnit</a:t>
            </a:r>
            <a:r>
              <a:rPr lang="de-DE" dirty="0" smtClean="0"/>
              <a:t> Test für die Beitragsberechnung erweitern.</a:t>
            </a:r>
          </a:p>
          <a:p>
            <a:pPr>
              <a:buFont typeface="Wingdings" pitchFamily="2" charset="2"/>
              <a:buChar char="§"/>
            </a:pPr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4547657-EC85-4FBC-8B2B-978331C5CC83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E-</a:t>
            </a:r>
            <a:fld id="{21FBF85A-D7A6-488B-8C2B-F7E0D6843921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729589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ieren 5"/>
          <p:cNvGrpSpPr/>
          <p:nvPr/>
        </p:nvGrpSpPr>
        <p:grpSpPr>
          <a:xfrm>
            <a:off x="947996" y="1816266"/>
            <a:ext cx="2764010" cy="1584176"/>
            <a:chOff x="254719" y="1638296"/>
            <a:chExt cx="3600000" cy="2580947"/>
          </a:xfrm>
        </p:grpSpPr>
        <p:sp>
          <p:nvSpPr>
            <p:cNvPr id="7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54719" y="2008177"/>
              <a:ext cx="3600000" cy="221106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000" dirty="0">
                <a:solidFill>
                  <a:srgbClr val="FFFFFF"/>
                </a:solidFill>
              </a:endParaRPr>
            </a:p>
          </p:txBody>
        </p:sp>
        <p:sp>
          <p:nvSpPr>
            <p:cNvPr id="8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 err="1" smtClean="0">
                  <a:solidFill>
                    <a:srgbClr val="FFFFFF"/>
                  </a:solidFill>
                </a:rPr>
                <a:t>Risikoklasse</a:t>
              </a:r>
              <a:endParaRPr lang="en-US" sz="1200" dirty="0" smtClean="0">
                <a:solidFill>
                  <a:srgbClr val="FFFFFF"/>
                </a:solidFill>
              </a:endParaRPr>
            </a:p>
          </p:txBody>
        </p:sp>
      </p:grpSp>
      <p:graphicFrame>
        <p:nvGraphicFramePr>
          <p:cNvPr id="9" name="Tabel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6632596"/>
              </p:ext>
            </p:extLst>
          </p:nvPr>
        </p:nvGraphicFramePr>
        <p:xfrm>
          <a:off x="970003" y="2086930"/>
          <a:ext cx="2742003" cy="1287941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923870"/>
                <a:gridCol w="1818133"/>
              </a:tblGrid>
              <a:tr h="388165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ID</a:t>
                      </a:r>
                      <a:endParaRPr lang="de-DE" sz="12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Name</a:t>
                      </a:r>
                      <a:endParaRPr lang="de-DE" sz="1200" dirty="0"/>
                    </a:p>
                  </a:txBody>
                  <a:tcPr marT="45733" marB="45733"/>
                </a:tc>
              </a:tr>
              <a:tr h="224944">
                <a:tc>
                  <a:txBody>
                    <a:bodyPr/>
                    <a:lstStyle/>
                    <a:p>
                      <a:pPr algn="ctr"/>
                      <a:endParaRPr lang="de-DE" sz="800" dirty="0" smtClean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endParaRPr lang="de-DE" sz="800" dirty="0"/>
                    </a:p>
                  </a:txBody>
                  <a:tcPr marT="45733" marB="45733"/>
                </a:tc>
              </a:tr>
              <a:tr h="224944">
                <a:tc>
                  <a:txBody>
                    <a:bodyPr/>
                    <a:lstStyle/>
                    <a:p>
                      <a:pPr algn="ctr"/>
                      <a:endParaRPr lang="de-DE" sz="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endParaRPr lang="de-DE" sz="800" dirty="0"/>
                    </a:p>
                  </a:txBody>
                  <a:tcPr marT="45733" marB="45733"/>
                </a:tc>
              </a:tr>
              <a:tr h="224944">
                <a:tc>
                  <a:txBody>
                    <a:bodyPr/>
                    <a:lstStyle/>
                    <a:p>
                      <a:pPr algn="ctr"/>
                      <a:endParaRPr lang="de-DE" sz="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endParaRPr lang="de-DE" sz="800" dirty="0"/>
                    </a:p>
                  </a:txBody>
                  <a:tcPr marT="45733" marB="45733"/>
                </a:tc>
              </a:tr>
              <a:tr h="224944">
                <a:tc>
                  <a:txBody>
                    <a:bodyPr/>
                    <a:lstStyle/>
                    <a:p>
                      <a:pPr algn="ctr"/>
                      <a:endParaRPr lang="de-DE" sz="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endParaRPr lang="de-DE" sz="800" dirty="0"/>
                    </a:p>
                  </a:txBody>
                  <a:tcPr marT="45733" marB="45733"/>
                </a:tc>
              </a:tr>
            </a:tbl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fzählung Risikoklasse: Modell und Produktseite</a:t>
            </a:r>
            <a:endParaRPr lang="de-DE" dirty="0"/>
          </a:p>
        </p:txBody>
      </p:sp>
      <p:cxnSp>
        <p:nvCxnSpPr>
          <p:cNvPr id="11" name="Gerade Verbindung 10"/>
          <p:cNvCxnSpPr/>
          <p:nvPr/>
        </p:nvCxnSpPr>
        <p:spPr bwMode="auto">
          <a:xfrm>
            <a:off x="4527043" y="1520416"/>
            <a:ext cx="0" cy="4608512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accent3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Textfeld 11"/>
          <p:cNvSpPr txBox="1"/>
          <p:nvPr/>
        </p:nvSpPr>
        <p:spPr>
          <a:xfrm>
            <a:off x="1489509" y="1268760"/>
            <a:ext cx="172819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357188"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Modell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5532080" y="1272042"/>
            <a:ext cx="172819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357188"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Produkt</a:t>
            </a:r>
          </a:p>
        </p:txBody>
      </p:sp>
      <p:sp>
        <p:nvSpPr>
          <p:cNvPr id="14" name="Nach rechts gekrümmter Pfeil 13"/>
          <p:cNvSpPr/>
          <p:nvPr/>
        </p:nvSpPr>
        <p:spPr bwMode="auto">
          <a:xfrm>
            <a:off x="179512" y="3032956"/>
            <a:ext cx="576064" cy="1836204"/>
          </a:xfrm>
          <a:prstGeom prst="curvedRightArrow">
            <a:avLst/>
          </a:prstGeom>
          <a:solidFill>
            <a:schemeClr val="bg1"/>
          </a:solidFill>
          <a:ln w="12700" cap="flat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 defTabSz="357188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de-DE" sz="1100" dirty="0" err="1" smtClean="0">
              <a:solidFill>
                <a:srgbClr val="585858"/>
              </a:solidFill>
              <a:sym typeface="Arial" charset="0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849821" y="4509121"/>
            <a:ext cx="3362139" cy="16198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36000" tIns="36000" rIns="36000" bIns="36000" rtlCol="0">
            <a:normAutofit lnSpcReduction="10000"/>
          </a:bodyPr>
          <a:lstStyle/>
          <a:p>
            <a:pPr defTabSz="357188"/>
            <a:r>
              <a:rPr lang="en-US" sz="1000" b="1" dirty="0" smtClean="0">
                <a:solidFill>
                  <a:srgbClr val="7F0055"/>
                </a:solidFill>
                <a:latin typeface="Consolas"/>
              </a:rPr>
              <a:t>public</a:t>
            </a:r>
            <a:r>
              <a:rPr lang="en-US" sz="1000" b="1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000" b="1" dirty="0" smtClean="0">
                <a:solidFill>
                  <a:srgbClr val="7F0055"/>
                </a:solidFill>
                <a:latin typeface="Consolas"/>
              </a:rPr>
              <a:t>final</a:t>
            </a:r>
            <a:r>
              <a:rPr lang="en-US" sz="1000" b="1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000" b="1" dirty="0" smtClean="0">
                <a:solidFill>
                  <a:srgbClr val="7F0055"/>
                </a:solidFill>
                <a:latin typeface="Consolas"/>
              </a:rPr>
              <a:t>class</a:t>
            </a:r>
            <a:r>
              <a:rPr lang="en-US" sz="1000" b="1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000" b="1" dirty="0" err="1" smtClean="0">
                <a:solidFill>
                  <a:srgbClr val="000000"/>
                </a:solidFill>
                <a:highlight>
                  <a:srgbClr val="D4D4D4"/>
                </a:highlight>
                <a:latin typeface="Consolas"/>
              </a:rPr>
              <a:t>Risikoklasse</a:t>
            </a:r>
            <a:r>
              <a:rPr lang="en-US" sz="1000" b="1" dirty="0" smtClean="0">
                <a:solidFill>
                  <a:srgbClr val="000000"/>
                </a:solidFill>
                <a:highlight>
                  <a:srgbClr val="D4D4D4"/>
                </a:highlight>
                <a:latin typeface="Consolas"/>
              </a:rPr>
              <a:t> {</a:t>
            </a:r>
          </a:p>
          <a:p>
            <a:pPr defTabSz="357188"/>
            <a:endParaRPr lang="de-DE" sz="1000" dirty="0" smtClean="0">
              <a:solidFill>
                <a:srgbClr val="FFFFFF"/>
              </a:solidFill>
              <a:latin typeface="Consolas"/>
            </a:endParaRPr>
          </a:p>
          <a:p>
            <a:pPr defTabSz="357188"/>
            <a:r>
              <a:rPr lang="de-DE" sz="1000" dirty="0" smtClean="0">
                <a:solidFill>
                  <a:srgbClr val="3F5FBF"/>
                </a:solidFill>
                <a:latin typeface="Consolas"/>
              </a:rPr>
              <a:t>/**</a:t>
            </a:r>
          </a:p>
          <a:p>
            <a:pPr defTabSz="357188"/>
            <a:r>
              <a:rPr lang="de-DE" sz="1000" dirty="0" smtClean="0">
                <a:solidFill>
                  <a:srgbClr val="3F5FBF"/>
                </a:solidFill>
                <a:latin typeface="Consolas"/>
              </a:rPr>
              <a:t> * </a:t>
            </a:r>
            <a:r>
              <a:rPr lang="de-DE" sz="1000" b="1" dirty="0" smtClean="0">
                <a:solidFill>
                  <a:srgbClr val="7F9FBF"/>
                </a:solidFill>
                <a:latin typeface="Consolas"/>
              </a:rPr>
              <a:t>@</a:t>
            </a:r>
            <a:r>
              <a:rPr lang="de-DE" sz="1000" b="1" dirty="0" err="1" smtClean="0">
                <a:solidFill>
                  <a:srgbClr val="7F9FBF"/>
                </a:solidFill>
                <a:latin typeface="Consolas"/>
              </a:rPr>
              <a:t>generated</a:t>
            </a:r>
            <a:endParaRPr lang="de-DE" sz="1000" b="1" dirty="0" smtClean="0">
              <a:solidFill>
                <a:srgbClr val="7F9FBF"/>
              </a:solidFill>
              <a:latin typeface="Consolas"/>
            </a:endParaRPr>
          </a:p>
          <a:p>
            <a:pPr defTabSz="357188"/>
            <a:r>
              <a:rPr lang="de-DE" sz="1000" dirty="0" smtClean="0">
                <a:solidFill>
                  <a:srgbClr val="3F5FBF"/>
                </a:solidFill>
                <a:latin typeface="Consolas"/>
              </a:rPr>
              <a:t> */</a:t>
            </a:r>
          </a:p>
          <a:p>
            <a:pPr defTabSz="357188"/>
            <a:r>
              <a:rPr lang="de-DE" sz="1000" b="1" dirty="0" smtClean="0">
                <a:solidFill>
                  <a:srgbClr val="7F0055"/>
                </a:solidFill>
                <a:latin typeface="Consolas"/>
              </a:rPr>
              <a:t>private</a:t>
            </a:r>
            <a:r>
              <a:rPr lang="de-DE" sz="1000" b="1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b="1" dirty="0" smtClean="0">
                <a:solidFill>
                  <a:srgbClr val="7F0055"/>
                </a:solidFill>
                <a:latin typeface="Consolas"/>
              </a:rPr>
              <a:t>final</a:t>
            </a:r>
            <a:r>
              <a:rPr lang="de-DE" sz="1000" b="1" dirty="0" smtClean="0">
                <a:solidFill>
                  <a:srgbClr val="000000"/>
                </a:solidFill>
                <a:latin typeface="Consolas"/>
              </a:rPr>
              <a:t> String </a:t>
            </a:r>
            <a:r>
              <a:rPr lang="de-DE" sz="1000" b="1" dirty="0" err="1" smtClean="0">
                <a:solidFill>
                  <a:srgbClr val="0000C0"/>
                </a:solidFill>
                <a:latin typeface="Consolas"/>
              </a:rPr>
              <a:t>id</a:t>
            </a:r>
            <a:r>
              <a:rPr lang="de-DE" sz="1000" b="1" dirty="0" smtClean="0">
                <a:solidFill>
                  <a:srgbClr val="000000"/>
                </a:solidFill>
                <a:latin typeface="Consolas"/>
              </a:rPr>
              <a:t>;</a:t>
            </a:r>
          </a:p>
          <a:p>
            <a:pPr defTabSz="357188"/>
            <a:endParaRPr lang="de-DE" sz="1000" dirty="0" smtClean="0">
              <a:solidFill>
                <a:srgbClr val="FFFFFF"/>
              </a:solidFill>
              <a:latin typeface="Consolas"/>
            </a:endParaRPr>
          </a:p>
          <a:p>
            <a:pPr defTabSz="357188"/>
            <a:r>
              <a:rPr lang="de-DE" sz="1000" dirty="0" smtClean="0">
                <a:solidFill>
                  <a:srgbClr val="3F5FBF"/>
                </a:solidFill>
                <a:latin typeface="Consolas"/>
              </a:rPr>
              <a:t>/**</a:t>
            </a:r>
          </a:p>
          <a:p>
            <a:pPr defTabSz="357188"/>
            <a:r>
              <a:rPr lang="de-DE" sz="1000" dirty="0" smtClean="0">
                <a:solidFill>
                  <a:srgbClr val="3F5FBF"/>
                </a:solidFill>
                <a:latin typeface="Consolas"/>
              </a:rPr>
              <a:t> * </a:t>
            </a:r>
            <a:r>
              <a:rPr lang="de-DE" sz="1000" b="1" dirty="0" smtClean="0">
                <a:solidFill>
                  <a:srgbClr val="7F9FBF"/>
                </a:solidFill>
                <a:latin typeface="Consolas"/>
              </a:rPr>
              <a:t>@</a:t>
            </a:r>
            <a:r>
              <a:rPr lang="de-DE" sz="1000" b="1" dirty="0" err="1" smtClean="0">
                <a:solidFill>
                  <a:srgbClr val="7F9FBF"/>
                </a:solidFill>
                <a:latin typeface="Consolas"/>
              </a:rPr>
              <a:t>generated</a:t>
            </a:r>
            <a:endParaRPr lang="de-DE" sz="1000" b="1" dirty="0" smtClean="0">
              <a:solidFill>
                <a:srgbClr val="7F9FBF"/>
              </a:solidFill>
              <a:latin typeface="Consolas"/>
            </a:endParaRPr>
          </a:p>
          <a:p>
            <a:pPr defTabSz="357188"/>
            <a:r>
              <a:rPr lang="de-DE" sz="1000" dirty="0" smtClean="0">
                <a:solidFill>
                  <a:srgbClr val="3F5FBF"/>
                </a:solidFill>
                <a:latin typeface="Consolas"/>
              </a:rPr>
              <a:t> */</a:t>
            </a:r>
          </a:p>
          <a:p>
            <a:pPr defTabSz="357188"/>
            <a:r>
              <a:rPr lang="de-DE" sz="1000" b="1" dirty="0" smtClean="0">
                <a:solidFill>
                  <a:srgbClr val="7F0055"/>
                </a:solidFill>
                <a:latin typeface="Consolas"/>
              </a:rPr>
              <a:t>private</a:t>
            </a:r>
            <a:r>
              <a:rPr lang="de-DE" sz="1000" b="1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b="1" dirty="0" smtClean="0">
                <a:solidFill>
                  <a:srgbClr val="7F0055"/>
                </a:solidFill>
                <a:latin typeface="Consolas"/>
              </a:rPr>
              <a:t>final</a:t>
            </a:r>
            <a:r>
              <a:rPr lang="de-DE" sz="1000" b="1" dirty="0" smtClean="0">
                <a:solidFill>
                  <a:srgbClr val="000000"/>
                </a:solidFill>
                <a:latin typeface="Consolas"/>
              </a:rPr>
              <a:t> String </a:t>
            </a:r>
            <a:r>
              <a:rPr lang="de-DE" sz="1000" b="1" dirty="0" err="1" smtClean="0">
                <a:solidFill>
                  <a:srgbClr val="0000C0"/>
                </a:solidFill>
                <a:latin typeface="Consolas"/>
              </a:rPr>
              <a:t>name</a:t>
            </a:r>
            <a:r>
              <a:rPr lang="de-DE" sz="1000" b="1" dirty="0" smtClean="0">
                <a:solidFill>
                  <a:srgbClr val="000000"/>
                </a:solidFill>
                <a:latin typeface="Consolas"/>
              </a:rPr>
              <a:t>;</a:t>
            </a:r>
            <a:endParaRPr lang="de-DE" sz="1100" dirty="0" smtClean="0">
              <a:solidFill>
                <a:srgbClr val="FFFFFF"/>
              </a:solidFill>
              <a:latin typeface="Calibri"/>
              <a:ea typeface="Calibri"/>
              <a:cs typeface="Times New Roman"/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1641909" y="4077072"/>
            <a:ext cx="172819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357188"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Java</a:t>
            </a:r>
          </a:p>
        </p:txBody>
      </p:sp>
      <p:grpSp>
        <p:nvGrpSpPr>
          <p:cNvPr id="15" name="Gruppieren 14"/>
          <p:cNvGrpSpPr/>
          <p:nvPr/>
        </p:nvGrpSpPr>
        <p:grpSpPr>
          <a:xfrm>
            <a:off x="4860032" y="1766352"/>
            <a:ext cx="3506155" cy="2058319"/>
            <a:chOff x="254719" y="1638296"/>
            <a:chExt cx="3600000" cy="2580947"/>
          </a:xfrm>
        </p:grpSpPr>
        <p:sp>
          <p:nvSpPr>
            <p:cNvPr id="16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54719" y="2008177"/>
              <a:ext cx="3600000" cy="221106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000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 err="1" smtClean="0">
                  <a:solidFill>
                    <a:srgbClr val="FFFFFF"/>
                  </a:solidFill>
                </a:rPr>
                <a:t>Risikoklasse</a:t>
              </a:r>
              <a:r>
                <a:rPr lang="en-US" sz="1200" dirty="0" smtClean="0">
                  <a:solidFill>
                    <a:srgbClr val="FFFFFF"/>
                  </a:solidFill>
                </a:rPr>
                <a:t>’</a:t>
              </a:r>
            </a:p>
          </p:txBody>
        </p:sp>
      </p:grpSp>
      <p:graphicFrame>
        <p:nvGraphicFramePr>
          <p:cNvPr id="19" name="Tabel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1177587"/>
              </p:ext>
            </p:extLst>
          </p:nvPr>
        </p:nvGraphicFramePr>
        <p:xfrm>
          <a:off x="4868113" y="2061334"/>
          <a:ext cx="3498074" cy="1763337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551180"/>
                <a:gridCol w="2946894"/>
              </a:tblGrid>
              <a:tr h="460749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ID</a:t>
                      </a:r>
                      <a:endParaRPr lang="de-DE" sz="12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Name</a:t>
                      </a:r>
                      <a:endParaRPr lang="de-DE" sz="1200" dirty="0"/>
                    </a:p>
                  </a:txBody>
                  <a:tcPr marT="45733" marB="45733"/>
                </a:tc>
              </a:tr>
              <a:tr h="325647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10</a:t>
                      </a: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200" dirty="0" smtClean="0"/>
                        <a:t>Ständig bewohntes Einfamilienhaus</a:t>
                      </a:r>
                      <a:endParaRPr lang="de-DE" sz="1200" dirty="0"/>
                    </a:p>
                  </a:txBody>
                  <a:tcPr marT="45733" marB="45733"/>
                </a:tc>
              </a:tr>
              <a:tr h="325647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20</a:t>
                      </a:r>
                      <a:endParaRPr lang="de-DE" sz="12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200" dirty="0" smtClean="0"/>
                        <a:t>Ständig bewohntes Mehrfamilienhaus</a:t>
                      </a:r>
                      <a:endParaRPr lang="de-DE" sz="1200" dirty="0"/>
                    </a:p>
                  </a:txBody>
                  <a:tcPr marT="45733" marB="45733"/>
                </a:tc>
              </a:tr>
              <a:tr h="325647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30</a:t>
                      </a:r>
                      <a:endParaRPr lang="de-DE" sz="12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200" dirty="0" smtClean="0"/>
                        <a:t>Ständig bewohntes Ferienhaus</a:t>
                      </a:r>
                      <a:endParaRPr lang="de-DE" sz="1200" dirty="0"/>
                    </a:p>
                  </a:txBody>
                  <a:tcPr marT="45733" marB="45733"/>
                </a:tc>
              </a:tr>
              <a:tr h="325647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40</a:t>
                      </a:r>
                      <a:endParaRPr lang="de-DE" sz="12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200" dirty="0" smtClean="0"/>
                        <a:t>Zweitwohnung</a:t>
                      </a:r>
                      <a:endParaRPr lang="de-DE" sz="1200" dirty="0"/>
                    </a:p>
                  </a:txBody>
                  <a:tcPr marT="45733" marB="45733"/>
                </a:tc>
              </a:tr>
            </a:tbl>
          </a:graphicData>
        </a:graphic>
      </p:graphicFrame>
      <p:sp>
        <p:nvSpPr>
          <p:cNvPr id="21" name="Textfeld 20"/>
          <p:cNvSpPr txBox="1"/>
          <p:nvPr/>
        </p:nvSpPr>
        <p:spPr>
          <a:xfrm>
            <a:off x="4860032" y="4507201"/>
            <a:ext cx="3506155" cy="162172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36000" tIns="36000" rIns="36000" bIns="36000" rtlCol="0">
            <a:normAutofit/>
          </a:bodyPr>
          <a:lstStyle/>
          <a:p>
            <a:pPr defTabSz="357188"/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&lt;?xml version="1.0" encoding="UTF-8"?&gt;</a:t>
            </a:r>
          </a:p>
          <a:p>
            <a:pPr defTabSz="357188"/>
            <a:endParaRPr lang="en-US" sz="1000" dirty="0">
              <a:solidFill>
                <a:srgbClr val="7F0055"/>
              </a:solidFill>
              <a:latin typeface="Consolas"/>
            </a:endParaRPr>
          </a:p>
          <a:p>
            <a:pPr defTabSz="357188"/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&lt;</a:t>
            </a:r>
            <a:r>
              <a:rPr lang="en-US" sz="1000" dirty="0" err="1" smtClean="0">
                <a:solidFill>
                  <a:srgbClr val="7F0055"/>
                </a:solidFill>
                <a:latin typeface="Consolas"/>
              </a:rPr>
              <a:t>EnumContent</a:t>
            </a:r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 </a:t>
            </a:r>
            <a:r>
              <a:rPr lang="en-US" sz="1000" dirty="0" err="1" smtClean="0">
                <a:solidFill>
                  <a:srgbClr val="7F0055"/>
                </a:solidFill>
                <a:latin typeface="Consolas"/>
              </a:rPr>
              <a:t>enumType</a:t>
            </a:r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="</a:t>
            </a:r>
            <a:r>
              <a:rPr lang="en-US" sz="1000" dirty="0" err="1" smtClean="0">
                <a:solidFill>
                  <a:srgbClr val="7F0055"/>
                </a:solidFill>
                <a:latin typeface="Consolas"/>
              </a:rPr>
              <a:t>hausrat.Risikoklasse</a:t>
            </a:r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“</a:t>
            </a:r>
          </a:p>
          <a:p>
            <a:pPr defTabSz="357188"/>
            <a:endParaRPr lang="en-US" sz="1000" dirty="0">
              <a:solidFill>
                <a:srgbClr val="7F0055"/>
              </a:solidFill>
              <a:latin typeface="Consolas"/>
              <a:ea typeface="Calibri"/>
              <a:cs typeface="Times New Roman"/>
            </a:endParaRPr>
          </a:p>
          <a:p>
            <a:pPr defTabSz="357188"/>
            <a:r>
              <a:rPr lang="en-US" sz="1000" dirty="0" smtClean="0">
                <a:solidFill>
                  <a:srgbClr val="7F0055"/>
                </a:solidFill>
                <a:latin typeface="Consolas"/>
                <a:ea typeface="Calibri"/>
                <a:cs typeface="Times New Roman"/>
              </a:rPr>
              <a:t>…</a:t>
            </a:r>
          </a:p>
          <a:p>
            <a:pPr defTabSz="357188"/>
            <a:endParaRPr lang="en-US" sz="1000" dirty="0">
              <a:solidFill>
                <a:srgbClr val="7F0055"/>
              </a:solidFill>
              <a:latin typeface="Consolas"/>
              <a:ea typeface="Calibri"/>
              <a:cs typeface="Times New Roman"/>
            </a:endParaRPr>
          </a:p>
          <a:p>
            <a:pPr defTabSz="357188"/>
            <a:r>
              <a:rPr lang="en-US" sz="1000" dirty="0" smtClean="0">
                <a:solidFill>
                  <a:srgbClr val="7F0055"/>
                </a:solidFill>
                <a:latin typeface="Consolas"/>
                <a:ea typeface="Calibri"/>
                <a:cs typeface="Times New Roman"/>
              </a:rPr>
              <a:t>&lt;/</a:t>
            </a:r>
            <a:r>
              <a:rPr lang="en-US" sz="1000" dirty="0" err="1" smtClean="0">
                <a:solidFill>
                  <a:srgbClr val="7F0055"/>
                </a:solidFill>
                <a:latin typeface="Consolas"/>
                <a:ea typeface="Calibri"/>
                <a:cs typeface="Times New Roman"/>
              </a:rPr>
              <a:t>EnumContent</a:t>
            </a:r>
            <a:r>
              <a:rPr lang="en-US" sz="1000" dirty="0" smtClean="0">
                <a:solidFill>
                  <a:srgbClr val="7F0055"/>
                </a:solidFill>
                <a:latin typeface="Consolas"/>
                <a:ea typeface="Calibri"/>
                <a:cs typeface="Times New Roman"/>
              </a:rPr>
              <a:t>&gt;</a:t>
            </a:r>
            <a:endParaRPr lang="de-DE" sz="1100" dirty="0" smtClean="0">
              <a:solidFill>
                <a:srgbClr val="FFFFFF"/>
              </a:solidFill>
              <a:latin typeface="Calibri"/>
              <a:ea typeface="Calibri"/>
              <a:cs typeface="Times New Roman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5868144" y="4077071"/>
            <a:ext cx="172819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357188"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XML</a:t>
            </a:r>
          </a:p>
        </p:txBody>
      </p:sp>
      <p:sp>
        <p:nvSpPr>
          <p:cNvPr id="23" name="Nach rechts gekrümmter Pfeil 22"/>
          <p:cNvSpPr/>
          <p:nvPr/>
        </p:nvSpPr>
        <p:spPr bwMode="auto">
          <a:xfrm flipH="1">
            <a:off x="8438195" y="3032956"/>
            <a:ext cx="581533" cy="1836204"/>
          </a:xfrm>
          <a:prstGeom prst="curvedRightArrow">
            <a:avLst/>
          </a:prstGeom>
          <a:solidFill>
            <a:schemeClr val="bg1"/>
          </a:solidFill>
          <a:ln w="12700" cap="flat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 defTabSz="357188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de-DE" sz="1100" dirty="0" err="1" smtClean="0">
              <a:solidFill>
                <a:srgbClr val="585858"/>
              </a:solidFill>
              <a:sym typeface="Arial" charset="0"/>
            </a:endParaRPr>
          </a:p>
        </p:txBody>
      </p:sp>
      <p:cxnSp>
        <p:nvCxnSpPr>
          <p:cNvPr id="10" name="Gerade Verbindung mit Pfeil 9"/>
          <p:cNvCxnSpPr/>
          <p:nvPr/>
        </p:nvCxnSpPr>
        <p:spPr bwMode="auto">
          <a:xfrm flipH="1">
            <a:off x="3712006" y="2564904"/>
            <a:ext cx="1630075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5" name="Datumsplatzhalter 2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B5F7D52-2B6A-491A-BB52-AFC394B34CAA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E-</a:t>
            </a:r>
            <a:fld id="{21FBF85A-D7A6-488B-8C2B-F7E0D6843921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146699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mo: Aufzählung Risikoklasse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4294967295"/>
          </p:nvPr>
        </p:nvSpPr>
        <p:spPr>
          <a:xfrm>
            <a:off x="251520" y="1340768"/>
            <a:ext cx="8640762" cy="5003800"/>
          </a:xfrm>
        </p:spPr>
        <p:txBody>
          <a:bodyPr/>
          <a:lstStyle/>
          <a:p>
            <a:pPr>
              <a:buFont typeface="Wingdings" pitchFamily="2" charset="2"/>
              <a:buChar char="§"/>
            </a:pPr>
            <a:r>
              <a:rPr lang="de-DE" dirty="0" smtClean="0"/>
              <a:t> Aufzählungstyp Risikoklasse anlegen</a:t>
            </a:r>
          </a:p>
          <a:p>
            <a:pPr>
              <a:buFont typeface="Wingdings" pitchFamily="2" charset="2"/>
              <a:buChar char="§"/>
            </a:pPr>
            <a:r>
              <a:rPr lang="de-DE" dirty="0" smtClean="0"/>
              <a:t> Generierten </a:t>
            </a:r>
            <a:r>
              <a:rPr lang="de-DE" dirty="0" err="1" smtClean="0"/>
              <a:t>Sourcecode</a:t>
            </a:r>
            <a:r>
              <a:rPr lang="de-DE" dirty="0" smtClean="0"/>
              <a:t> und XML anschauen</a:t>
            </a:r>
          </a:p>
          <a:p>
            <a:pPr>
              <a:buFont typeface="Wingdings" pitchFamily="2" charset="2"/>
              <a:buChar char="§"/>
            </a:pPr>
            <a:r>
              <a:rPr lang="de-DE" dirty="0" smtClean="0"/>
              <a:t> </a:t>
            </a:r>
            <a:r>
              <a:rPr lang="de-DE" dirty="0" err="1" smtClean="0"/>
              <a:t>JUnit</a:t>
            </a:r>
            <a:r>
              <a:rPr lang="de-DE" dirty="0" smtClean="0"/>
              <a:t> Test anlegen</a:t>
            </a:r>
          </a:p>
          <a:p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0A53823-5487-4275-83A4-899CEC680799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E-</a:t>
            </a:r>
            <a:fld id="{21FBF85A-D7A6-488B-8C2B-F7E0D6843921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7225289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heme/theme1.xml><?xml version="1.0" encoding="utf-8"?>
<a:theme xmlns:a="http://schemas.openxmlformats.org/drawingml/2006/main" name="Master - ConVista General ">
  <a:themeElements>
    <a:clrScheme name="CONVISTA">
      <a:dk1>
        <a:srgbClr val="005596"/>
      </a:dk1>
      <a:lt1>
        <a:srgbClr val="FFFFFF"/>
      </a:lt1>
      <a:dk2>
        <a:srgbClr val="585858"/>
      </a:dk2>
      <a:lt2>
        <a:srgbClr val="B2B2B2"/>
      </a:lt2>
      <a:accent1>
        <a:srgbClr val="39A9DC"/>
      </a:accent1>
      <a:accent2>
        <a:srgbClr val="EE7F00"/>
      </a:accent2>
      <a:accent3>
        <a:srgbClr val="FFFFFF"/>
      </a:accent3>
      <a:accent4>
        <a:srgbClr val="585858"/>
      </a:accent4>
      <a:accent5>
        <a:srgbClr val="B2B2B2"/>
      </a:accent5>
      <a:accent6>
        <a:srgbClr val="172D5F"/>
      </a:accent6>
      <a:hlink>
        <a:srgbClr val="005596"/>
      </a:hlink>
      <a:folHlink>
        <a:srgbClr val="585858"/>
      </a:folHlink>
    </a:clrScheme>
    <a:fontScheme name="Terms of Reference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>
          <a:solidFill>
            <a:schemeClr val="tx2"/>
          </a:solidFill>
          <a:prstDash val="solid"/>
          <a:miter lim="800000"/>
          <a:headEnd type="none" w="med" len="med"/>
          <a:tailEnd type="none" w="med" len="med"/>
        </a:ln>
        <a:effectLst/>
      </a:spPr>
      <a:bodyPr lIns="72000" tIns="72000" rIns="72000" bIns="72000" rtlCol="0" anchor="t"/>
      <a:lstStyle>
        <a:defPPr marL="180975" indent="-180975" algn="l">
          <a:lnSpc>
            <a:spcPct val="90000"/>
          </a:lnSpc>
          <a:spcBef>
            <a:spcPts val="500"/>
          </a:spcBef>
          <a:buClr>
            <a:schemeClr val="tx2"/>
          </a:buClr>
          <a:buSzPct val="100000"/>
          <a:buFont typeface="Wingdings" pitchFamily="2" charset="2"/>
          <a:buChar char="§"/>
          <a:tabLst>
            <a:tab pos="180975" algn="l"/>
          </a:tabLst>
          <a:defRPr sz="1100" dirty="0" err="1" smtClean="0">
            <a:solidFill>
              <a:schemeClr val="tx2"/>
            </a:solidFill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36000" tIns="36000" rIns="36000" bIns="36000" rtlCol="0">
        <a:spAutoFit/>
      </a:bodyPr>
      <a:lstStyle>
        <a:defPPr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rms of Reference Master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rms of Reference Master 2">
        <a:dk1>
          <a:srgbClr val="585858"/>
        </a:dk1>
        <a:lt1>
          <a:srgbClr val="FFFFFF"/>
        </a:lt1>
        <a:dk2>
          <a:srgbClr val="585858"/>
        </a:dk2>
        <a:lt2>
          <a:srgbClr val="B2B2B2"/>
        </a:lt2>
        <a:accent1>
          <a:srgbClr val="004C88"/>
        </a:accent1>
        <a:accent2>
          <a:srgbClr val="FF9900"/>
        </a:accent2>
        <a:accent3>
          <a:srgbClr val="FFFFFF"/>
        </a:accent3>
        <a:accent4>
          <a:srgbClr val="4A4A4A"/>
        </a:accent4>
        <a:accent5>
          <a:srgbClr val="AAB2C3"/>
        </a:accent5>
        <a:accent6>
          <a:srgbClr val="E78A00"/>
        </a:accent6>
        <a:hlink>
          <a:srgbClr val="3F649B"/>
        </a:hlink>
        <a:folHlink>
          <a:srgbClr val="A0C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07</Words>
  <Application>Microsoft Office PowerPoint</Application>
  <PresentationFormat>Bildschirmpräsentation (4:3)</PresentationFormat>
  <Paragraphs>93</Paragraphs>
  <Slides>5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6" baseType="lpstr">
      <vt:lpstr>Master - ConVista General </vt:lpstr>
      <vt:lpstr>Inhalt - Modellierung &amp; Produktdefinition</vt:lpstr>
      <vt:lpstr>Aufzählung Zahlweise: Modell und Produktseite</vt:lpstr>
      <vt:lpstr>Demo: Aufzählung Zahlweise</vt:lpstr>
      <vt:lpstr>Aufzählung Risikoklasse: Modell und Produktseite</vt:lpstr>
      <vt:lpstr>Demo: Aufzählung Risikoklasse</vt:lpstr>
    </vt:vector>
  </TitlesOfParts>
  <Company>Convista Consulting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 Master</dc:title>
  <dc:creator>ConVista Consulting AG</dc:creator>
  <dc:description>© ConVista Consulting AG 2012</dc:description>
  <cp:lastModifiedBy>nbschediwy</cp:lastModifiedBy>
  <cp:revision>1627</cp:revision>
  <cp:lastPrinted>2012-11-19T11:42:38Z</cp:lastPrinted>
  <dcterms:created xsi:type="dcterms:W3CDTF">2005-03-22T09:36:15Z</dcterms:created>
  <dcterms:modified xsi:type="dcterms:W3CDTF">2013-05-17T14:49:52Z</dcterms:modified>
  <cp:category>Master</cp:category>
  <cp:contentStatus>RELEASED</cp:contentStatus>
</cp:coreProperties>
</file>